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5"/>
  </p:notesMasterIdLst>
  <p:handoutMasterIdLst>
    <p:handoutMasterId r:id="rId26"/>
  </p:handoutMasterIdLst>
  <p:sldIdLst>
    <p:sldId id="268" r:id="rId2"/>
    <p:sldId id="269" r:id="rId3"/>
    <p:sldId id="302" r:id="rId4"/>
    <p:sldId id="284" r:id="rId5"/>
    <p:sldId id="286" r:id="rId6"/>
    <p:sldId id="311" r:id="rId7"/>
    <p:sldId id="303" r:id="rId8"/>
    <p:sldId id="272" r:id="rId9"/>
    <p:sldId id="287" r:id="rId10"/>
    <p:sldId id="288" r:id="rId11"/>
    <p:sldId id="278" r:id="rId12"/>
    <p:sldId id="289" r:id="rId13"/>
    <p:sldId id="307" r:id="rId14"/>
    <p:sldId id="290" r:id="rId15"/>
    <p:sldId id="293" r:id="rId16"/>
    <p:sldId id="294" r:id="rId17"/>
    <p:sldId id="295" r:id="rId18"/>
    <p:sldId id="298" r:id="rId19"/>
    <p:sldId id="299" r:id="rId20"/>
    <p:sldId id="304" r:id="rId21"/>
    <p:sldId id="305" r:id="rId22"/>
    <p:sldId id="306" r:id="rId23"/>
    <p:sldId id="283" r:id="rId24"/>
  </p:sldIdLst>
  <p:sldSz cx="9144000" cy="6858000" type="screen4x3"/>
  <p:notesSz cx="6858000" cy="9144000"/>
  <p:custDataLst>
    <p:tags r:id="rId2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" initials="A" lastIdx="3" clrIdx="0">
    <p:extLst>
      <p:ext uri="{19B8F6BF-5375-455C-9EA6-DF929625EA0E}">
        <p15:presenceInfo xmlns:p15="http://schemas.microsoft.com/office/powerpoint/2012/main" userId="ADMI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9E9"/>
    <a:srgbClr val="E6E6E6"/>
    <a:srgbClr val="00A2E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194" autoAdjust="0"/>
    <p:restoredTop sz="94660"/>
  </p:normalViewPr>
  <p:slideViewPr>
    <p:cSldViewPr snapToGrid="0" showGuides="1">
      <p:cViewPr varScale="1">
        <p:scale>
          <a:sx n="74" d="100"/>
          <a:sy n="74" d="100"/>
        </p:scale>
        <p:origin x="160" y="672"/>
      </p:cViewPr>
      <p:guideLst>
        <p:guide orient="horz" pos="2183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3828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1756F9B-1B17-4EE2-BD49-988E7FABDC1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E41247B-3FBD-4A36-A577-29D86DA099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06F806-DB54-45D6-8AD4-F912799DA560}" type="datetimeFigureOut">
              <a:rPr lang="en-ID" smtClean="0"/>
              <a:t>03/05/19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E931CC3-B0B4-4AF4-90C4-3E5537C8DB1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B294096-72E1-4DF0-A25D-F9A30D6030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6D3351-1165-4599-8600-4D73A70046AA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449804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264497-5C63-4146-A752-7271852AC8CE}" type="datetimeFigureOut">
              <a:rPr lang="en-ID" smtClean="0"/>
              <a:t>03/05/19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4492AB-84AC-46AC-8DC3-5834F105C21E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797419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8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>
            <a:extLst>
              <a:ext uri="{FF2B5EF4-FFF2-40B4-BE49-F238E27FC236}">
                <a16:creationId xmlns:a16="http://schemas.microsoft.com/office/drawing/2014/main" id="{16F0F20A-BC36-4949-828E-A0EAF419C3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492" r="23003"/>
          <a:stretch/>
        </p:blipFill>
        <p:spPr>
          <a:xfrm>
            <a:off x="-7558675" y="0"/>
            <a:ext cx="13233304" cy="11390128"/>
          </a:xfrm>
          <a:custGeom>
            <a:avLst/>
            <a:gdLst>
              <a:gd name="connsiteX0" fmla="*/ 0 w 13233304"/>
              <a:gd name="connsiteY0" fmla="*/ 10707329 h 11390128"/>
              <a:gd name="connsiteX1" fmla="*/ 4530798 w 13233304"/>
              <a:gd name="connsiteY1" fmla="*/ 10707329 h 11390128"/>
              <a:gd name="connsiteX2" fmla="*/ 4530798 w 13233304"/>
              <a:gd name="connsiteY2" fmla="*/ 10891985 h 11390128"/>
              <a:gd name="connsiteX3" fmla="*/ 13233304 w 13233304"/>
              <a:gd name="connsiteY3" fmla="*/ 10891985 h 11390128"/>
              <a:gd name="connsiteX4" fmla="*/ 13233304 w 13233304"/>
              <a:gd name="connsiteY4" fmla="*/ 11390128 h 11390128"/>
              <a:gd name="connsiteX5" fmla="*/ 0 w 13233304"/>
              <a:gd name="connsiteY5" fmla="*/ 11390128 h 11390128"/>
              <a:gd name="connsiteX6" fmla="*/ 7533369 w 13233304"/>
              <a:gd name="connsiteY6" fmla="*/ 0 h 11390128"/>
              <a:gd name="connsiteX7" fmla="*/ 13233304 w 13233304"/>
              <a:gd name="connsiteY7" fmla="*/ 0 h 11390128"/>
              <a:gd name="connsiteX8" fmla="*/ 13233304 w 13233304"/>
              <a:gd name="connsiteY8" fmla="*/ 6869007 h 11390128"/>
              <a:gd name="connsiteX9" fmla="*/ 7533369 w 13233304"/>
              <a:gd name="connsiteY9" fmla="*/ 6869007 h 11390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233304" h="11390128">
                <a:moveTo>
                  <a:pt x="0" y="10707329"/>
                </a:moveTo>
                <a:lnTo>
                  <a:pt x="4530798" y="10707329"/>
                </a:lnTo>
                <a:lnTo>
                  <a:pt x="4530798" y="10891985"/>
                </a:lnTo>
                <a:lnTo>
                  <a:pt x="13233304" y="10891985"/>
                </a:lnTo>
                <a:lnTo>
                  <a:pt x="13233304" y="11390128"/>
                </a:lnTo>
                <a:lnTo>
                  <a:pt x="0" y="11390128"/>
                </a:lnTo>
                <a:close/>
                <a:moveTo>
                  <a:pt x="7533369" y="0"/>
                </a:moveTo>
                <a:lnTo>
                  <a:pt x="13233304" y="0"/>
                </a:lnTo>
                <a:lnTo>
                  <a:pt x="13233304" y="6869007"/>
                </a:lnTo>
                <a:lnTo>
                  <a:pt x="7533369" y="6869007"/>
                </a:lnTo>
                <a:close/>
              </a:path>
            </a:pathLst>
          </a:cu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F60CAB3-0C06-45DD-AEED-4AFD7A98F9D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138" y="584695"/>
            <a:ext cx="2227725" cy="489566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F1BDC4-2366-49C5-AEF4-7CE4E2E6D4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7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CF1BDC4-2366-49C5-AEF4-7CE4E2E6D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>
            <a:extLst>
              <a:ext uri="{FF2B5EF4-FFF2-40B4-BE49-F238E27FC236}">
                <a16:creationId xmlns:a16="http://schemas.microsoft.com/office/drawing/2014/main" id="{0971D48B-493E-40C3-8806-B88F1ED5A7C9}"/>
              </a:ext>
            </a:extLst>
          </p:cNvPr>
          <p:cNvSpPr/>
          <p:nvPr userDrawn="1"/>
        </p:nvSpPr>
        <p:spPr>
          <a:xfrm flipH="1">
            <a:off x="0" y="1931351"/>
            <a:ext cx="9144000" cy="3186783"/>
          </a:xfrm>
          <a:prstGeom prst="rect">
            <a:avLst/>
          </a:prstGeom>
          <a:gradFill flip="none" rotWithShape="1">
            <a:gsLst>
              <a:gs pos="20000">
                <a:srgbClr val="0070C0"/>
              </a:gs>
              <a:gs pos="100000">
                <a:srgbClr val="00A2E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2202797"/>
            <a:ext cx="6858000" cy="974849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395541"/>
            <a:ext cx="6858000" cy="1353281"/>
          </a:xfrm>
        </p:spPr>
        <p:txBody>
          <a:bodyPr>
            <a:normAutofit/>
          </a:bodyPr>
          <a:lstStyle>
            <a:lvl1pPr marL="0" indent="0" algn="ctr">
              <a:buNone/>
              <a:defRPr sz="2800" b="0" i="1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957258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88750C-1DB9-4AAC-8A63-E1DF371034C6}" type="datetime1">
              <a:rPr lang="en-ID" smtClean="0"/>
              <a:t>03/05/19</a:t>
            </a:fld>
            <a:endParaRPr lang="en-ID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2710980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417378-F6F7-4E90-B4D4-345AC4ED8FA4}" type="datetime1">
              <a:rPr lang="en-ID" smtClean="0"/>
              <a:t>03/05/19</a:t>
            </a:fld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1162488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444A55-5008-4DF6-8A7D-00C8994918FC}" type="datetime1">
              <a:rPr lang="en-ID" smtClean="0"/>
              <a:t>03/05/19</a:t>
            </a:fld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1262461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46177F-07B8-45C5-A0BC-FD33B7D3BD6F}" type="datetime1">
              <a:rPr lang="en-ID" smtClean="0"/>
              <a:t>03/05/19</a:t>
            </a:fld>
            <a:endParaRPr lang="en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6271114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BFD64-FE24-4159-9390-F07D008B02B4}" type="datetime1">
              <a:rPr lang="en-ID" smtClean="0"/>
              <a:t>03/05/19</a:t>
            </a:fld>
            <a:endParaRPr lang="en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5588038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F4DD9D09-7C02-4401-9438-3224630453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r="6269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F1BDC4-2366-49C5-AEF4-7CE4E2E6D4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2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CF1BDC4-2366-49C5-AEF4-7CE4E2E6D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>
            <a:extLst>
              <a:ext uri="{FF2B5EF4-FFF2-40B4-BE49-F238E27FC236}">
                <a16:creationId xmlns:a16="http://schemas.microsoft.com/office/drawing/2014/main" id="{0971D48B-493E-40C3-8806-B88F1ED5A7C9}"/>
              </a:ext>
            </a:extLst>
          </p:cNvPr>
          <p:cNvSpPr/>
          <p:nvPr userDrawn="1"/>
        </p:nvSpPr>
        <p:spPr>
          <a:xfrm flipH="1">
            <a:off x="0" y="2261551"/>
            <a:ext cx="9144000" cy="3186783"/>
          </a:xfrm>
          <a:prstGeom prst="rect">
            <a:avLst/>
          </a:prstGeom>
          <a:gradFill flip="none" rotWithShape="1">
            <a:gsLst>
              <a:gs pos="20000">
                <a:srgbClr val="0070C0"/>
              </a:gs>
              <a:gs pos="100000">
                <a:srgbClr val="00A2E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2532997"/>
            <a:ext cx="6858000" cy="974849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725741"/>
            <a:ext cx="6858000" cy="1353281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76BB3D5-5DCF-4CE6-902C-C48481B34E4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138" y="584695"/>
            <a:ext cx="2227725" cy="489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8246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33E9A3C-F198-4DC8-9F7F-465D280BA5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27747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0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2E80798D-3BCF-4B92-B9DB-B36039D8B3C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5234861" y="2364577"/>
            <a:ext cx="6357233" cy="4760123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49D0C715-1ECA-4AA5-B830-DA30A1C06C93}"/>
              </a:ext>
            </a:extLst>
          </p:cNvPr>
          <p:cNvSpPr/>
          <p:nvPr userDrawn="1"/>
        </p:nvSpPr>
        <p:spPr>
          <a:xfrm>
            <a:off x="5238750" y="2343150"/>
            <a:ext cx="3905250" cy="4514793"/>
          </a:xfrm>
          <a:prstGeom prst="rect">
            <a:avLst/>
          </a:prstGeom>
          <a:solidFill>
            <a:schemeClr val="bg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9874" y="1359493"/>
            <a:ext cx="8144252" cy="4817470"/>
          </a:xfrm>
        </p:spPr>
        <p:txBody>
          <a:bodyPr>
            <a:normAutofit/>
          </a:bodyPr>
          <a:lstStyle>
            <a:lvl1pPr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2pPr>
            <a:lvl3pPr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3pPr>
            <a:lvl4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4pPr>
            <a:lvl5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C11780B7-50A3-4B07-9AD1-1BF2AC68EEE1}"/>
              </a:ext>
            </a:extLst>
          </p:cNvPr>
          <p:cNvSpPr/>
          <p:nvPr userDrawn="1"/>
        </p:nvSpPr>
        <p:spPr>
          <a:xfrm rot="5400000">
            <a:off x="4487312" y="-3109086"/>
            <a:ext cx="169377" cy="8333117"/>
          </a:xfrm>
          <a:prstGeom prst="ellipse">
            <a:avLst/>
          </a:prstGeom>
          <a:gradFill flip="none" rotWithShape="1">
            <a:gsLst>
              <a:gs pos="0">
                <a:schemeClr val="tx1">
                  <a:alpha val="30000"/>
                </a:schemeClr>
              </a:gs>
              <a:gs pos="100000">
                <a:schemeClr val="tx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1587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b="1">
              <a:ln w="0">
                <a:noFill/>
              </a:ln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DC2FE39-881D-4F59-A7E3-5F7A80125A2D}"/>
              </a:ext>
            </a:extLst>
          </p:cNvPr>
          <p:cNvSpPr/>
          <p:nvPr userDrawn="1"/>
        </p:nvSpPr>
        <p:spPr>
          <a:xfrm>
            <a:off x="0" y="258792"/>
            <a:ext cx="9144000" cy="8233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07E4FB6-3FBA-4317-B257-46D659556D0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5" y="6413366"/>
            <a:ext cx="886966" cy="178747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9874" y="427170"/>
            <a:ext cx="8144252" cy="486584"/>
          </a:xfrm>
        </p:spPr>
        <p:txBody>
          <a:bodyPr>
            <a:noAutofit/>
          </a:bodyPr>
          <a:lstStyle>
            <a:lvl1pPr>
              <a:defRPr sz="2800" b="1" i="0">
                <a:solidFill>
                  <a:schemeClr val="tx1">
                    <a:lumMod val="75000"/>
                    <a:lumOff val="25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714A3195-1A8B-4DE2-8DF5-BFA7BAB85610}"/>
              </a:ext>
            </a:extLst>
          </p:cNvPr>
          <p:cNvSpPr txBox="1">
            <a:spLocks/>
          </p:cNvSpPr>
          <p:nvPr userDrawn="1"/>
        </p:nvSpPr>
        <p:spPr>
          <a:xfrm>
            <a:off x="499874" y="818053"/>
            <a:ext cx="7049927" cy="27683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endParaRPr lang="en-US" sz="1400">
              <a:solidFill>
                <a:srgbClr val="00A9E9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63781" y="6339149"/>
            <a:ext cx="499395" cy="327181"/>
          </a:xfrm>
          <a:noFill/>
        </p:spPr>
        <p:txBody>
          <a:bodyPr/>
          <a:lstStyle>
            <a:lvl1pPr algn="r">
              <a:defRPr sz="110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fld id="{B36ABF38-3DF5-41C9-AF5A-16AA40ED05D1}" type="slidenum">
              <a:rPr lang="en-ID" smtClean="0"/>
              <a:pPr/>
              <a:t>‹#›</a:t>
            </a:fld>
            <a:endParaRPr lang="en-ID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2642F9D-7DD0-4946-AAA0-3EF4810DC2C6}"/>
              </a:ext>
            </a:extLst>
          </p:cNvPr>
          <p:cNvCxnSpPr>
            <a:cxnSpLocks/>
          </p:cNvCxnSpPr>
          <p:nvPr userDrawn="1"/>
        </p:nvCxnSpPr>
        <p:spPr>
          <a:xfrm>
            <a:off x="1470660" y="6502739"/>
            <a:ext cx="660930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B3B2D956-4ED8-40FF-8872-F89EEFC4B095}"/>
              </a:ext>
            </a:extLst>
          </p:cNvPr>
          <p:cNvSpPr/>
          <p:nvPr userDrawn="1"/>
        </p:nvSpPr>
        <p:spPr>
          <a:xfrm>
            <a:off x="8926405" y="427670"/>
            <a:ext cx="217595" cy="485585"/>
          </a:xfrm>
          <a:prstGeom prst="rect">
            <a:avLst/>
          </a:prstGeom>
          <a:solidFill>
            <a:srgbClr val="00A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E8F3E768-8613-4814-B2B7-3546BFFD825A}"/>
              </a:ext>
            </a:extLst>
          </p:cNvPr>
          <p:cNvGrpSpPr/>
          <p:nvPr userDrawn="1"/>
        </p:nvGrpSpPr>
        <p:grpSpPr>
          <a:xfrm flipH="1">
            <a:off x="611238" y="295515"/>
            <a:ext cx="324038" cy="71626"/>
            <a:chOff x="585600" y="295515"/>
            <a:chExt cx="324038" cy="71626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3A425024-6B81-4868-A8EB-C0605A171A2C}"/>
                </a:ext>
              </a:extLst>
            </p:cNvPr>
            <p:cNvSpPr/>
            <p:nvPr userDrawn="1"/>
          </p:nvSpPr>
          <p:spPr>
            <a:xfrm>
              <a:off x="585600" y="295515"/>
              <a:ext cx="71626" cy="71626"/>
            </a:xfrm>
            <a:prstGeom prst="ellipse">
              <a:avLst/>
            </a:prstGeom>
            <a:solidFill>
              <a:srgbClr val="00A9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C89694B-E6E6-42D1-824C-1D1521D5C43D}"/>
                </a:ext>
              </a:extLst>
            </p:cNvPr>
            <p:cNvSpPr/>
            <p:nvPr userDrawn="1"/>
          </p:nvSpPr>
          <p:spPr>
            <a:xfrm>
              <a:off x="711806" y="295515"/>
              <a:ext cx="71626" cy="7162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D3DF54CC-8476-41BB-B7CF-33A6B3F10AC4}"/>
                </a:ext>
              </a:extLst>
            </p:cNvPr>
            <p:cNvSpPr/>
            <p:nvPr userDrawn="1"/>
          </p:nvSpPr>
          <p:spPr>
            <a:xfrm>
              <a:off x="838012" y="295515"/>
              <a:ext cx="71626" cy="71626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</p:spTree>
    <p:extLst>
      <p:ext uri="{BB962C8B-B14F-4D97-AF65-F5344CB8AC3E}">
        <p14:creationId xmlns:p14="http://schemas.microsoft.com/office/powerpoint/2010/main" val="445330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val 18">
            <a:extLst>
              <a:ext uri="{FF2B5EF4-FFF2-40B4-BE49-F238E27FC236}">
                <a16:creationId xmlns:a16="http://schemas.microsoft.com/office/drawing/2014/main" id="{0207483D-39FA-4D50-B618-2F18B5C2FADA}"/>
              </a:ext>
            </a:extLst>
          </p:cNvPr>
          <p:cNvSpPr/>
          <p:nvPr userDrawn="1"/>
        </p:nvSpPr>
        <p:spPr>
          <a:xfrm rot="5400000">
            <a:off x="4487312" y="-3109086"/>
            <a:ext cx="169377" cy="8333117"/>
          </a:xfrm>
          <a:prstGeom prst="ellipse">
            <a:avLst/>
          </a:prstGeom>
          <a:gradFill flip="none" rotWithShape="1">
            <a:gsLst>
              <a:gs pos="0">
                <a:schemeClr val="tx1">
                  <a:alpha val="30000"/>
                </a:schemeClr>
              </a:gs>
              <a:gs pos="100000">
                <a:schemeClr val="tx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1587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b="1">
              <a:ln w="0">
                <a:noFill/>
              </a:ln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9683C48-D1E4-4D18-AECF-CEA24FDD037D}"/>
              </a:ext>
            </a:extLst>
          </p:cNvPr>
          <p:cNvSpPr/>
          <p:nvPr userDrawn="1"/>
        </p:nvSpPr>
        <p:spPr>
          <a:xfrm>
            <a:off x="0" y="258792"/>
            <a:ext cx="9144000" cy="8233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9874" y="1359493"/>
            <a:ext cx="4014976" cy="4817470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z="24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>
              <a:defRPr lang="en-US" sz="20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2pPr>
            <a:lvl3pPr>
              <a:defRPr lang="en-US" sz="18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3pPr>
            <a:lvl4pPr>
              <a:defRPr lang="en-US" sz="16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4pPr>
            <a:lvl5pPr>
              <a:def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59493"/>
            <a:ext cx="4014976" cy="4817470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z="24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>
              <a:defRPr lang="en-US" sz="20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2pPr>
            <a:lvl3pPr>
              <a:defRPr lang="en-US" sz="18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3pPr>
            <a:lvl4pPr>
              <a:defRPr lang="en-US" sz="16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4pPr>
            <a:lvl5pPr>
              <a:def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4F3D07E-3A96-4646-B586-7ABC95D4E0E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5" y="6413366"/>
            <a:ext cx="886966" cy="178747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EE5C5F32-C000-4F35-BD73-17B74F327A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874" y="427170"/>
            <a:ext cx="8144252" cy="486584"/>
          </a:xfrm>
        </p:spPr>
        <p:txBody>
          <a:bodyPr>
            <a:noAutofit/>
          </a:bodyPr>
          <a:lstStyle>
            <a:lvl1pPr>
              <a:defRPr sz="2800" b="1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58324B2-1EA4-47DA-B46C-B4322CD890F6}"/>
              </a:ext>
            </a:extLst>
          </p:cNvPr>
          <p:cNvSpPr txBox="1">
            <a:spLocks/>
          </p:cNvSpPr>
          <p:nvPr userDrawn="1"/>
        </p:nvSpPr>
        <p:spPr>
          <a:xfrm>
            <a:off x="499874" y="818053"/>
            <a:ext cx="7049927" cy="27683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endParaRPr lang="en-US" sz="1400">
              <a:solidFill>
                <a:srgbClr val="00A9E9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95D32BEB-F039-433B-AAF4-82F7C4D3D0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63781" y="6339149"/>
            <a:ext cx="499395" cy="327181"/>
          </a:xfrm>
          <a:noFill/>
        </p:spPr>
        <p:txBody>
          <a:bodyPr/>
          <a:lstStyle>
            <a:lvl1pPr algn="r">
              <a:defRPr sz="110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fld id="{B36ABF38-3DF5-41C9-AF5A-16AA40ED05D1}" type="slidenum">
              <a:rPr lang="en-ID" smtClean="0"/>
              <a:pPr/>
              <a:t>‹#›</a:t>
            </a:fld>
            <a:endParaRPr lang="en-ID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28150CF4-1A1A-460D-9C22-587035EEC092}"/>
              </a:ext>
            </a:extLst>
          </p:cNvPr>
          <p:cNvCxnSpPr>
            <a:cxnSpLocks/>
          </p:cNvCxnSpPr>
          <p:nvPr userDrawn="1"/>
        </p:nvCxnSpPr>
        <p:spPr>
          <a:xfrm>
            <a:off x="1470660" y="6502739"/>
            <a:ext cx="660930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3C166D0D-D8DE-40BA-BFF3-716365A68B26}"/>
              </a:ext>
            </a:extLst>
          </p:cNvPr>
          <p:cNvSpPr/>
          <p:nvPr userDrawn="1"/>
        </p:nvSpPr>
        <p:spPr>
          <a:xfrm>
            <a:off x="8926405" y="427670"/>
            <a:ext cx="217595" cy="485585"/>
          </a:xfrm>
          <a:prstGeom prst="rect">
            <a:avLst/>
          </a:prstGeom>
          <a:solidFill>
            <a:srgbClr val="00A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CE03384-E0A8-4286-900E-C0D4419FA70D}"/>
              </a:ext>
            </a:extLst>
          </p:cNvPr>
          <p:cNvGrpSpPr/>
          <p:nvPr userDrawn="1"/>
        </p:nvGrpSpPr>
        <p:grpSpPr>
          <a:xfrm flipH="1">
            <a:off x="611238" y="295515"/>
            <a:ext cx="324038" cy="71626"/>
            <a:chOff x="585600" y="295515"/>
            <a:chExt cx="324038" cy="71626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1DEFDB12-BB71-49D0-AF71-117CB17C813D}"/>
                </a:ext>
              </a:extLst>
            </p:cNvPr>
            <p:cNvSpPr/>
            <p:nvPr userDrawn="1"/>
          </p:nvSpPr>
          <p:spPr>
            <a:xfrm>
              <a:off x="585600" y="295515"/>
              <a:ext cx="71626" cy="71626"/>
            </a:xfrm>
            <a:prstGeom prst="ellipse">
              <a:avLst/>
            </a:prstGeom>
            <a:solidFill>
              <a:srgbClr val="00A9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0EF6370E-6471-411A-9BB3-55B0A06B31D9}"/>
                </a:ext>
              </a:extLst>
            </p:cNvPr>
            <p:cNvSpPr/>
            <p:nvPr userDrawn="1"/>
          </p:nvSpPr>
          <p:spPr>
            <a:xfrm>
              <a:off x="711806" y="295515"/>
              <a:ext cx="71626" cy="7162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D823C34E-DAED-466A-8FF4-03FC3C47101C}"/>
                </a:ext>
              </a:extLst>
            </p:cNvPr>
            <p:cNvSpPr/>
            <p:nvPr userDrawn="1"/>
          </p:nvSpPr>
          <p:spPr>
            <a:xfrm>
              <a:off x="838012" y="295515"/>
              <a:ext cx="71626" cy="71626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</p:spTree>
    <p:extLst>
      <p:ext uri="{BB962C8B-B14F-4D97-AF65-F5344CB8AC3E}">
        <p14:creationId xmlns:p14="http://schemas.microsoft.com/office/powerpoint/2010/main" val="36869629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>
            <a:extLst>
              <a:ext uri="{FF2B5EF4-FFF2-40B4-BE49-F238E27FC236}">
                <a16:creationId xmlns:a16="http://schemas.microsoft.com/office/drawing/2014/main" id="{F3EDB541-F165-49AE-B249-66247B7548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08167" y="266021"/>
            <a:ext cx="9144000" cy="684677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62400" y="1716702"/>
            <a:ext cx="5248281" cy="1500187"/>
          </a:xfrm>
        </p:spPr>
        <p:txBody>
          <a:bodyPr anchor="b">
            <a:normAutofit/>
          </a:bodyPr>
          <a:lstStyle>
            <a:lvl1pPr>
              <a:defRPr sz="3600">
                <a:solidFill>
                  <a:srgbClr val="00A2E4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62401" y="3243878"/>
            <a:ext cx="5248282" cy="445532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46D70A4-65D8-4ABD-88D2-72D656721014}"/>
              </a:ext>
            </a:extLst>
          </p:cNvPr>
          <p:cNvGrpSpPr/>
          <p:nvPr userDrawn="1"/>
        </p:nvGrpSpPr>
        <p:grpSpPr>
          <a:xfrm flipH="1">
            <a:off x="4102099" y="3916256"/>
            <a:ext cx="725849" cy="160443"/>
            <a:chOff x="585600" y="295515"/>
            <a:chExt cx="324038" cy="71626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9768E62-6B4B-471F-A113-15BB5AC2B08E}"/>
                </a:ext>
              </a:extLst>
            </p:cNvPr>
            <p:cNvSpPr/>
            <p:nvPr userDrawn="1"/>
          </p:nvSpPr>
          <p:spPr>
            <a:xfrm>
              <a:off x="585600" y="295515"/>
              <a:ext cx="71626" cy="71626"/>
            </a:xfrm>
            <a:prstGeom prst="ellipse">
              <a:avLst/>
            </a:prstGeom>
            <a:solidFill>
              <a:srgbClr val="00A9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C02469F6-810F-47B4-812C-19A3CC8DDC4D}"/>
                </a:ext>
              </a:extLst>
            </p:cNvPr>
            <p:cNvSpPr/>
            <p:nvPr userDrawn="1"/>
          </p:nvSpPr>
          <p:spPr>
            <a:xfrm>
              <a:off x="711806" y="295515"/>
              <a:ext cx="71626" cy="7162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D8A48149-451C-44F8-A861-750720893A3C}"/>
                </a:ext>
              </a:extLst>
            </p:cNvPr>
            <p:cNvSpPr/>
            <p:nvPr userDrawn="1"/>
          </p:nvSpPr>
          <p:spPr>
            <a:xfrm>
              <a:off x="838012" y="295515"/>
              <a:ext cx="71626" cy="71626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EE8CD338-D783-4A60-B3A0-0B4EC2F4F7E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0975" y="6464166"/>
            <a:ext cx="886966" cy="178747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18480968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44CDBFD-28C2-4C56-8466-C46805749D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8513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4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6AB6FD2B-3EF0-4757-ABF3-6DDAFD468FD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5234861" y="2364577"/>
            <a:ext cx="6357233" cy="4760123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CC8EF95-6B86-40ED-B74A-AF60EF8E059E}"/>
              </a:ext>
            </a:extLst>
          </p:cNvPr>
          <p:cNvSpPr/>
          <p:nvPr userDrawn="1"/>
        </p:nvSpPr>
        <p:spPr>
          <a:xfrm>
            <a:off x="5238750" y="2343150"/>
            <a:ext cx="3905250" cy="4514793"/>
          </a:xfrm>
          <a:prstGeom prst="rect">
            <a:avLst/>
          </a:prstGeom>
          <a:solidFill>
            <a:schemeClr val="bg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E00EFED4-8EB7-4477-B49D-19B155DAA841}"/>
              </a:ext>
            </a:extLst>
          </p:cNvPr>
          <p:cNvSpPr/>
          <p:nvPr userDrawn="1"/>
        </p:nvSpPr>
        <p:spPr>
          <a:xfrm rot="5400000">
            <a:off x="4487312" y="-3109086"/>
            <a:ext cx="169377" cy="8333117"/>
          </a:xfrm>
          <a:prstGeom prst="ellipse">
            <a:avLst/>
          </a:prstGeom>
          <a:gradFill flip="none" rotWithShape="1">
            <a:gsLst>
              <a:gs pos="0">
                <a:schemeClr val="tx1">
                  <a:alpha val="30000"/>
                </a:schemeClr>
              </a:gs>
              <a:gs pos="100000">
                <a:schemeClr val="tx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1587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b="1">
              <a:ln w="0">
                <a:noFill/>
              </a:ln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9E947E5-DBEA-41AB-AFF5-2B6A62DC096F}"/>
              </a:ext>
            </a:extLst>
          </p:cNvPr>
          <p:cNvSpPr/>
          <p:nvPr userDrawn="1"/>
        </p:nvSpPr>
        <p:spPr>
          <a:xfrm>
            <a:off x="0" y="258792"/>
            <a:ext cx="9144000" cy="8233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D983B10F-F783-41C7-A2E4-54CE39FBA56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5" y="6413366"/>
            <a:ext cx="886966" cy="178747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CF8A2345-0FEE-4BCA-BFAD-E1A8E550AC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874" y="427170"/>
            <a:ext cx="8163302" cy="486584"/>
          </a:xfrm>
        </p:spPr>
        <p:txBody>
          <a:bodyPr>
            <a:noAutofit/>
          </a:bodyPr>
          <a:lstStyle>
            <a:lvl1pPr>
              <a:defRPr sz="2800" b="1" i="0">
                <a:solidFill>
                  <a:schemeClr val="tx1">
                    <a:lumMod val="75000"/>
                    <a:lumOff val="25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FA351F4-B22D-47F5-B7A7-23077DEC6CB0}"/>
              </a:ext>
            </a:extLst>
          </p:cNvPr>
          <p:cNvSpPr txBox="1">
            <a:spLocks/>
          </p:cNvSpPr>
          <p:nvPr userDrawn="1"/>
        </p:nvSpPr>
        <p:spPr>
          <a:xfrm>
            <a:off x="499874" y="818053"/>
            <a:ext cx="7049927" cy="27683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endParaRPr lang="en-US" sz="1400">
              <a:solidFill>
                <a:srgbClr val="00A9E9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16754A07-0931-4AE3-9477-D372D16AA3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63781" y="6339149"/>
            <a:ext cx="499395" cy="327181"/>
          </a:xfrm>
          <a:noFill/>
        </p:spPr>
        <p:txBody>
          <a:bodyPr/>
          <a:lstStyle>
            <a:lvl1pPr algn="r">
              <a:defRPr sz="110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fld id="{B36ABF38-3DF5-41C9-AF5A-16AA40ED05D1}" type="slidenum">
              <a:rPr lang="en-ID" smtClean="0"/>
              <a:pPr/>
              <a:t>‹#›</a:t>
            </a:fld>
            <a:endParaRPr lang="en-ID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53A2C9E-5929-4F91-958A-526EE99082DE}"/>
              </a:ext>
            </a:extLst>
          </p:cNvPr>
          <p:cNvCxnSpPr>
            <a:cxnSpLocks/>
          </p:cNvCxnSpPr>
          <p:nvPr userDrawn="1"/>
        </p:nvCxnSpPr>
        <p:spPr>
          <a:xfrm>
            <a:off x="1470660" y="6502739"/>
            <a:ext cx="660930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6BB8FE92-F37E-4EB6-BE50-B6EF753B9363}"/>
              </a:ext>
            </a:extLst>
          </p:cNvPr>
          <p:cNvSpPr/>
          <p:nvPr userDrawn="1"/>
        </p:nvSpPr>
        <p:spPr>
          <a:xfrm>
            <a:off x="8926405" y="427670"/>
            <a:ext cx="217595" cy="485585"/>
          </a:xfrm>
          <a:prstGeom prst="rect">
            <a:avLst/>
          </a:prstGeom>
          <a:solidFill>
            <a:srgbClr val="00A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2827505-D0D6-4BCF-BE16-F9E85E7068F8}"/>
              </a:ext>
            </a:extLst>
          </p:cNvPr>
          <p:cNvGrpSpPr/>
          <p:nvPr userDrawn="1"/>
        </p:nvGrpSpPr>
        <p:grpSpPr>
          <a:xfrm flipH="1">
            <a:off x="611238" y="295515"/>
            <a:ext cx="324038" cy="71626"/>
            <a:chOff x="585600" y="295515"/>
            <a:chExt cx="324038" cy="71626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005F0235-59E7-4F24-8972-8BAA1B46DFC6}"/>
                </a:ext>
              </a:extLst>
            </p:cNvPr>
            <p:cNvSpPr/>
            <p:nvPr userDrawn="1"/>
          </p:nvSpPr>
          <p:spPr>
            <a:xfrm>
              <a:off x="585600" y="295515"/>
              <a:ext cx="71626" cy="71626"/>
            </a:xfrm>
            <a:prstGeom prst="ellipse">
              <a:avLst/>
            </a:prstGeom>
            <a:solidFill>
              <a:srgbClr val="00A9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B210B401-1FEA-43CC-9E2A-7128D3DE6FE8}"/>
                </a:ext>
              </a:extLst>
            </p:cNvPr>
            <p:cNvSpPr/>
            <p:nvPr userDrawn="1"/>
          </p:nvSpPr>
          <p:spPr>
            <a:xfrm>
              <a:off x="711806" y="295515"/>
              <a:ext cx="71626" cy="7162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B6E37480-8A72-4BA4-8FBE-A42C9E98F62B}"/>
                </a:ext>
              </a:extLst>
            </p:cNvPr>
            <p:cNvSpPr/>
            <p:nvPr userDrawn="1"/>
          </p:nvSpPr>
          <p:spPr>
            <a:xfrm>
              <a:off x="838012" y="295515"/>
              <a:ext cx="71626" cy="71626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</p:spTree>
    <p:extLst>
      <p:ext uri="{BB962C8B-B14F-4D97-AF65-F5344CB8AC3E}">
        <p14:creationId xmlns:p14="http://schemas.microsoft.com/office/powerpoint/2010/main" val="8855663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DB2F325-65F3-434B-A453-0CB17FF32E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648075" y="1359493"/>
            <a:ext cx="5015101" cy="4816475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</a:defRPr>
            </a:lvl1pPr>
          </a:lstStyle>
          <a:p>
            <a:endParaRPr lang="en-ID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6D9C3E8-85C8-4470-B4AB-89116B9BE70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9874" y="1359493"/>
            <a:ext cx="2995801" cy="4816468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z="20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>
              <a:defRPr lang="en-US" sz="18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2pPr>
            <a:lvl3pPr>
              <a:defRPr lang="en-US" sz="16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3pPr>
            <a:lvl4pPr>
              <a:defRPr lang="en-US" sz="14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4pPr>
            <a:lvl5pPr>
              <a:defRPr lang="en-US" sz="1200" b="0" i="0" dirty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E9AF693-883E-4207-A1E0-355E073E9BEE}"/>
              </a:ext>
            </a:extLst>
          </p:cNvPr>
          <p:cNvSpPr/>
          <p:nvPr userDrawn="1"/>
        </p:nvSpPr>
        <p:spPr>
          <a:xfrm rot="5400000">
            <a:off x="4487312" y="-3109086"/>
            <a:ext cx="169377" cy="8333117"/>
          </a:xfrm>
          <a:prstGeom prst="ellipse">
            <a:avLst/>
          </a:prstGeom>
          <a:gradFill flip="none" rotWithShape="1">
            <a:gsLst>
              <a:gs pos="0">
                <a:schemeClr val="tx1">
                  <a:alpha val="30000"/>
                </a:schemeClr>
              </a:gs>
              <a:gs pos="100000">
                <a:schemeClr val="tx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1587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b="1">
              <a:ln w="0">
                <a:noFill/>
              </a:ln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6BFE191-F59C-4C97-9F5F-2B2AADF29C6A}"/>
              </a:ext>
            </a:extLst>
          </p:cNvPr>
          <p:cNvSpPr/>
          <p:nvPr userDrawn="1"/>
        </p:nvSpPr>
        <p:spPr>
          <a:xfrm>
            <a:off x="0" y="258792"/>
            <a:ext cx="9144000" cy="8233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DC722F17-13E4-41AD-BC5B-A23436BEDCC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5" y="6413366"/>
            <a:ext cx="886966" cy="178747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24" name="Title 1">
            <a:extLst>
              <a:ext uri="{FF2B5EF4-FFF2-40B4-BE49-F238E27FC236}">
                <a16:creationId xmlns:a16="http://schemas.microsoft.com/office/drawing/2014/main" id="{368F2020-E7CE-4858-95B5-C7646C5338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874" y="427170"/>
            <a:ext cx="8163302" cy="486584"/>
          </a:xfrm>
        </p:spPr>
        <p:txBody>
          <a:bodyPr>
            <a:noAutofit/>
          </a:bodyPr>
          <a:lstStyle>
            <a:lvl1pPr>
              <a:defRPr sz="2800" b="1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3159BA5C-6D54-4D9C-8EDE-63703770F900}"/>
              </a:ext>
            </a:extLst>
          </p:cNvPr>
          <p:cNvSpPr txBox="1">
            <a:spLocks/>
          </p:cNvSpPr>
          <p:nvPr userDrawn="1"/>
        </p:nvSpPr>
        <p:spPr>
          <a:xfrm>
            <a:off x="499874" y="818053"/>
            <a:ext cx="7049927" cy="27683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endParaRPr lang="en-US" sz="1400">
              <a:solidFill>
                <a:srgbClr val="00A9E9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48999DA8-7FDB-4985-B887-186860CF04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63781" y="6339149"/>
            <a:ext cx="499395" cy="327181"/>
          </a:xfrm>
          <a:noFill/>
        </p:spPr>
        <p:txBody>
          <a:bodyPr/>
          <a:lstStyle>
            <a:lvl1pPr algn="r">
              <a:defRPr sz="110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fld id="{B36ABF38-3DF5-41C9-AF5A-16AA40ED05D1}" type="slidenum">
              <a:rPr lang="en-ID" smtClean="0"/>
              <a:pPr/>
              <a:t>‹#›</a:t>
            </a:fld>
            <a:endParaRPr lang="en-ID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BF50DEB-98F9-4C74-B44D-BDEAE19466FC}"/>
              </a:ext>
            </a:extLst>
          </p:cNvPr>
          <p:cNvCxnSpPr>
            <a:cxnSpLocks/>
          </p:cNvCxnSpPr>
          <p:nvPr userDrawn="1"/>
        </p:nvCxnSpPr>
        <p:spPr>
          <a:xfrm>
            <a:off x="1470660" y="6502739"/>
            <a:ext cx="660930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DDE03453-2697-4289-937A-193E17334BBB}"/>
              </a:ext>
            </a:extLst>
          </p:cNvPr>
          <p:cNvSpPr/>
          <p:nvPr userDrawn="1"/>
        </p:nvSpPr>
        <p:spPr>
          <a:xfrm>
            <a:off x="8926405" y="427670"/>
            <a:ext cx="217595" cy="485585"/>
          </a:xfrm>
          <a:prstGeom prst="rect">
            <a:avLst/>
          </a:prstGeom>
          <a:solidFill>
            <a:srgbClr val="00A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2C613E88-5093-484E-916D-F8E28BB6F787}"/>
              </a:ext>
            </a:extLst>
          </p:cNvPr>
          <p:cNvGrpSpPr/>
          <p:nvPr userDrawn="1"/>
        </p:nvGrpSpPr>
        <p:grpSpPr>
          <a:xfrm flipH="1">
            <a:off x="611238" y="295515"/>
            <a:ext cx="324038" cy="71626"/>
            <a:chOff x="585600" y="295515"/>
            <a:chExt cx="324038" cy="71626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5F17A953-AB99-464A-925E-EBE9BCB94897}"/>
                </a:ext>
              </a:extLst>
            </p:cNvPr>
            <p:cNvSpPr/>
            <p:nvPr userDrawn="1"/>
          </p:nvSpPr>
          <p:spPr>
            <a:xfrm>
              <a:off x="585600" y="295515"/>
              <a:ext cx="71626" cy="71626"/>
            </a:xfrm>
            <a:prstGeom prst="ellipse">
              <a:avLst/>
            </a:prstGeom>
            <a:solidFill>
              <a:srgbClr val="00A9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D0C54E5-BEA9-45E0-9D99-3D8EE2047816}"/>
                </a:ext>
              </a:extLst>
            </p:cNvPr>
            <p:cNvSpPr/>
            <p:nvPr userDrawn="1"/>
          </p:nvSpPr>
          <p:spPr>
            <a:xfrm>
              <a:off x="711806" y="295515"/>
              <a:ext cx="71626" cy="7162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86BA2033-7CF3-4158-A25F-31C1FE48D0D3}"/>
                </a:ext>
              </a:extLst>
            </p:cNvPr>
            <p:cNvSpPr/>
            <p:nvPr userDrawn="1"/>
          </p:nvSpPr>
          <p:spPr>
            <a:xfrm>
              <a:off x="838012" y="295515"/>
              <a:ext cx="71626" cy="71626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</p:spTree>
    <p:extLst>
      <p:ext uri="{BB962C8B-B14F-4D97-AF65-F5344CB8AC3E}">
        <p14:creationId xmlns:p14="http://schemas.microsoft.com/office/powerpoint/2010/main" val="42423927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891300A-5010-4D6B-BE5B-EB32FC0A344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8550" y="0"/>
            <a:ext cx="9144000" cy="6464724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9A56AA3-628C-431A-8BE1-CD8AFAFE04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0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9A56AA3-628C-431A-8BE1-CD8AFAFE04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>
            <a:extLst>
              <a:ext uri="{FF2B5EF4-FFF2-40B4-BE49-F238E27FC236}">
                <a16:creationId xmlns:a16="http://schemas.microsoft.com/office/drawing/2014/main" id="{9E75DAEE-E6F3-43A5-A154-B1CDC4819BC4}"/>
              </a:ext>
            </a:extLst>
          </p:cNvPr>
          <p:cNvSpPr/>
          <p:nvPr userDrawn="1"/>
        </p:nvSpPr>
        <p:spPr>
          <a:xfrm>
            <a:off x="-3" y="4690109"/>
            <a:ext cx="9143999" cy="1813197"/>
          </a:xfrm>
          <a:prstGeom prst="rect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6F6AA70-9238-446F-BD59-08D4DB1CB9A4}"/>
              </a:ext>
            </a:extLst>
          </p:cNvPr>
          <p:cNvSpPr/>
          <p:nvPr userDrawn="1"/>
        </p:nvSpPr>
        <p:spPr>
          <a:xfrm flipH="1">
            <a:off x="-2" y="4810102"/>
            <a:ext cx="9144001" cy="1573211"/>
          </a:xfrm>
          <a:prstGeom prst="rect">
            <a:avLst/>
          </a:prstGeom>
          <a:gradFill flip="none" rotWithShape="1">
            <a:gsLst>
              <a:gs pos="14000">
                <a:srgbClr val="0070C0"/>
              </a:gs>
              <a:gs pos="100000">
                <a:srgbClr val="00A2E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D5C1022E-1D06-491F-BFEC-0C350E5E3C4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4922" y="5399659"/>
            <a:ext cx="1793303" cy="394097"/>
          </a:xfrm>
          <a:prstGeom prst="rect">
            <a:avLst/>
          </a:prstGeom>
        </p:spPr>
      </p:pic>
      <p:sp>
        <p:nvSpPr>
          <p:cNvPr id="29" name="Title 1">
            <a:extLst>
              <a:ext uri="{FF2B5EF4-FFF2-40B4-BE49-F238E27FC236}">
                <a16:creationId xmlns:a16="http://schemas.microsoft.com/office/drawing/2014/main" id="{A4891B24-AE33-4DB5-B0A4-2D6947679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4116" y="4933926"/>
            <a:ext cx="6228159" cy="132556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473908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D2C81C-7D6F-4397-BC7D-185A72931A87}" type="datetime1">
              <a:rPr lang="en-ID" smtClean="0"/>
              <a:t>03/05/19</a:t>
            </a:fld>
            <a:endParaRPr lang="en-ID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5313424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4D0A824-0760-401E-9FB4-87ECCBE685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5825657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3" name="think-cell Slide" r:id="rId18" imgW="383" imgH="384" progId="TCLayout.ActiveDocument.1">
                  <p:embed/>
                </p:oleObj>
              </mc:Choice>
              <mc:Fallback>
                <p:oleObj name="think-cell Slide" r:id="rId18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31295B-D3D8-49A1-9BD9-7E47EC69130B}" type="datetime1">
              <a:rPr lang="en-ID" smtClean="0"/>
              <a:t>03/05/19</a:t>
            </a:fld>
            <a:endParaRPr lang="en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6ABF38-3DF5-41C9-AF5A-16AA40ED05D1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5404449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2" r:id="rId3"/>
    <p:sldLayoutId id="2147483673" r:id="rId4"/>
    <p:sldLayoutId id="2147483663" r:id="rId5"/>
    <p:sldLayoutId id="2147483674" r:id="rId6"/>
    <p:sldLayoutId id="2147483675" r:id="rId7"/>
    <p:sldLayoutId id="2147483676" r:id="rId8"/>
    <p:sldLayoutId id="2147483665" r:id="rId9"/>
    <p:sldLayoutId id="2147483666" r:id="rId10"/>
    <p:sldLayoutId id="2147483668" r:id="rId11"/>
    <p:sldLayoutId id="2147483669" r:id="rId12"/>
    <p:sldLayoutId id="2147483670" r:id="rId13"/>
    <p:sldLayoutId id="2147483671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tx1"/>
          </a:solidFill>
          <a:latin typeface="Lato Black" panose="020F0502020204030203" pitchFamily="34" charset="0"/>
          <a:ea typeface="Lato Black" panose="020F0502020204030203" pitchFamily="34" charset="0"/>
          <a:cs typeface="Lato Black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euro-ix/json-schemas" TargetMode="External"/><Relationship Id="rId2" Type="http://schemas.openxmlformats.org/officeDocument/2006/relationships/hyperlink" Target="https://lists.euro-ix.net/mailman/listinfo/ixpdb" TargetMode="External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api.ixpdb.net/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5.png"/><Relationship Id="rId5" Type="http://schemas.openxmlformats.org/officeDocument/2006/relationships/image" Target="../media/image6.png"/><Relationship Id="rId4" Type="http://schemas.openxmlformats.org/officeDocument/2006/relationships/image" Target="../media/image34.emf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uro-ix.net/en/forixps/large-bgp-communities/" TargetMode="External"/><Relationship Id="rId2" Type="http://schemas.openxmlformats.org/officeDocument/2006/relationships/hyperlink" Target="https://www.euro-ix.net/en/communications/newsletters/" TargetMode="Externa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hyperlink" Target="https://ixpdb.euro-ix.net/" TargetMode="Externa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F1B5C2-133D-4E3C-99AC-01869FFE40F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ID" dirty="0"/>
              <a:t>IXPDB &amp; Euro-IX Tool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35A7396-9E3F-47A2-A7B9-A32488A9C00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ITNOG5 2019, Bologna</a:t>
            </a:r>
            <a:endParaRPr lang="en-GB" i="0" dirty="0"/>
          </a:p>
          <a:p>
            <a:r>
              <a:rPr lang="en-GB" i="0" dirty="0"/>
              <a:t>Bijal Sanghani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2464952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0B346A1-F91A-9A49-AE75-8A76BC690D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9874" y="1348352"/>
            <a:ext cx="8144252" cy="4828611"/>
          </a:xfrm>
        </p:spPr>
        <p:txBody>
          <a:bodyPr/>
          <a:lstStyle/>
          <a:p>
            <a:pPr marL="0" indent="0" algn="ctr">
              <a:buNone/>
            </a:pPr>
            <a:r>
              <a:rPr lang="en-US"/>
              <a:t>https://</a:t>
            </a:r>
            <a:r>
              <a:rPr lang="en-US" err="1"/>
              <a:t>ixpdb.euro-ix.net</a:t>
            </a:r>
            <a:r>
              <a:rPr lang="en-US"/>
              <a:t>/</a:t>
            </a:r>
            <a:r>
              <a:rPr lang="en-US" err="1"/>
              <a:t>en</a:t>
            </a:r>
            <a:r>
              <a:rPr lang="en-US"/>
              <a:t>/</a:t>
            </a:r>
            <a:r>
              <a:rPr lang="en-US" err="1"/>
              <a:t>ixpdb</a:t>
            </a:r>
            <a:r>
              <a:rPr lang="en-US"/>
              <a:t>/</a:t>
            </a:r>
            <a:r>
              <a:rPr lang="en-US" err="1"/>
              <a:t>asns</a:t>
            </a:r>
            <a:r>
              <a:rPr lang="en-US"/>
              <a:t>/</a:t>
            </a:r>
          </a:p>
          <a:p>
            <a:pPr marL="0" indent="0">
              <a:buNone/>
            </a:pP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02E3BD3-68F5-054E-8F36-9A1B03D1C3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’ve been working on – ASN Directo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208EA8-2F1F-924C-8360-8892A31559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10</a:t>
            </a:fld>
            <a:endParaRPr lang="en-ID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08CD925-88BA-1E47-99CD-7126CEA6196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8338" y="1774895"/>
            <a:ext cx="7275443" cy="4402068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A76BA78E-F593-0B45-88E8-2226098E5C6A}"/>
              </a:ext>
            </a:extLst>
          </p:cNvPr>
          <p:cNvCxnSpPr/>
          <p:nvPr/>
        </p:nvCxnSpPr>
        <p:spPr>
          <a:xfrm flipH="1">
            <a:off x="1643270" y="2663687"/>
            <a:ext cx="318052" cy="4903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6B49407C-2940-8944-97BD-0AED18CEB0BF}"/>
              </a:ext>
            </a:extLst>
          </p:cNvPr>
          <p:cNvCxnSpPr>
            <a:cxnSpLocks/>
          </p:cNvCxnSpPr>
          <p:nvPr/>
        </p:nvCxnSpPr>
        <p:spPr>
          <a:xfrm>
            <a:off x="7076219" y="3286539"/>
            <a:ext cx="0" cy="39660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6CD44DAD-5202-6845-B69A-49C6133125E1}"/>
              </a:ext>
            </a:extLst>
          </p:cNvPr>
          <p:cNvCxnSpPr>
            <a:cxnSpLocks/>
          </p:cNvCxnSpPr>
          <p:nvPr/>
        </p:nvCxnSpPr>
        <p:spPr>
          <a:xfrm>
            <a:off x="7493663" y="2988365"/>
            <a:ext cx="0" cy="39660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34B1584E-247B-9641-B4E4-14FF0649DF08}"/>
              </a:ext>
            </a:extLst>
          </p:cNvPr>
          <p:cNvCxnSpPr>
            <a:cxnSpLocks/>
          </p:cNvCxnSpPr>
          <p:nvPr/>
        </p:nvCxnSpPr>
        <p:spPr>
          <a:xfrm>
            <a:off x="3902323" y="3286539"/>
            <a:ext cx="0" cy="39660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64819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C2AB818-6DB2-E447-B827-6A626BF29C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’ve been working on – IXP Member Lis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AE9D3C-A1DE-624A-B021-7C738BFAE7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11</a:t>
            </a:fld>
            <a:endParaRPr lang="en-ID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9FC784D-A2E3-6644-A093-896BE94D151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3707" y="1256940"/>
            <a:ext cx="5115051" cy="5082209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AB58AF78-635D-F340-8222-CBDCFBA8BC31}"/>
              </a:ext>
            </a:extLst>
          </p:cNvPr>
          <p:cNvCxnSpPr>
            <a:cxnSpLocks/>
          </p:cNvCxnSpPr>
          <p:nvPr/>
        </p:nvCxnSpPr>
        <p:spPr>
          <a:xfrm flipH="1">
            <a:off x="3988903" y="2305879"/>
            <a:ext cx="397566" cy="2120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0D1E0A53-04F0-ED4A-AB62-14170F709798}"/>
              </a:ext>
            </a:extLst>
          </p:cNvPr>
          <p:cNvCxnSpPr/>
          <p:nvPr/>
        </p:nvCxnSpPr>
        <p:spPr>
          <a:xfrm>
            <a:off x="5738191" y="2186609"/>
            <a:ext cx="0" cy="33130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A66F60B3-2D8C-9C4A-B341-BDDA54DCDB66}"/>
              </a:ext>
            </a:extLst>
          </p:cNvPr>
          <p:cNvCxnSpPr/>
          <p:nvPr/>
        </p:nvCxnSpPr>
        <p:spPr>
          <a:xfrm>
            <a:off x="6122504" y="2080591"/>
            <a:ext cx="0" cy="33130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A568127C-FF0D-E545-A2C0-ACDE3C246872}"/>
              </a:ext>
            </a:extLst>
          </p:cNvPr>
          <p:cNvCxnSpPr/>
          <p:nvPr/>
        </p:nvCxnSpPr>
        <p:spPr>
          <a:xfrm>
            <a:off x="6626087" y="2027583"/>
            <a:ext cx="0" cy="3843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23788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C2AB818-6DB2-E447-B827-6A626BF29C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’ve been working on – Compare IXP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AE9D3C-A1DE-624A-B021-7C738BFAE7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12</a:t>
            </a:fld>
            <a:endParaRPr lang="en-ID"/>
          </a:p>
        </p:txBody>
      </p:sp>
      <p:pic>
        <p:nvPicPr>
          <p:cNvPr id="14" name="Content Placeholder 13">
            <a:extLst>
              <a:ext uri="{FF2B5EF4-FFF2-40B4-BE49-F238E27FC236}">
                <a16:creationId xmlns:a16="http://schemas.microsoft.com/office/drawing/2014/main" id="{A375D8D6-6E27-B240-864F-CEFF766E64D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2701" y="1358900"/>
            <a:ext cx="5178598" cy="4818063"/>
          </a:xfrm>
        </p:spPr>
      </p:pic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8AF6A65-9343-594C-96CA-285227CE57E7}"/>
              </a:ext>
            </a:extLst>
          </p:cNvPr>
          <p:cNvCxnSpPr/>
          <p:nvPr/>
        </p:nvCxnSpPr>
        <p:spPr>
          <a:xfrm>
            <a:off x="1982701" y="3074504"/>
            <a:ext cx="389438" cy="22528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06828F70-B865-0E4D-ABB1-BCD8BD052344}"/>
              </a:ext>
            </a:extLst>
          </p:cNvPr>
          <p:cNvCxnSpPr/>
          <p:nvPr/>
        </p:nvCxnSpPr>
        <p:spPr>
          <a:xfrm>
            <a:off x="1982701" y="2739288"/>
            <a:ext cx="389438" cy="22528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09727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C2AB818-6DB2-E447-B827-6A626BF29C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’ve been working on – Compare IXP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AE9D3C-A1DE-624A-B021-7C738BFAE7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13</a:t>
            </a:fld>
            <a:endParaRPr lang="en-ID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3689DD88-62C8-F145-B8BF-3ADAF55AB0A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6083" y="1358900"/>
            <a:ext cx="6151834" cy="4818063"/>
          </a:xfrm>
        </p:spPr>
      </p:pic>
    </p:spTree>
    <p:extLst>
      <p:ext uri="{BB962C8B-B14F-4D97-AF65-F5344CB8AC3E}">
        <p14:creationId xmlns:p14="http://schemas.microsoft.com/office/powerpoint/2010/main" val="94274152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C2AB818-6DB2-E447-B827-6A626BF29C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’ve been working on – Compare IXP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AE9D3C-A1DE-624A-B021-7C738BFAE7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14</a:t>
            </a:fld>
            <a:endParaRPr lang="en-ID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941038F-F2EF-8E49-B40D-E6ABFFF09C0B}"/>
              </a:ext>
            </a:extLst>
          </p:cNvPr>
          <p:cNvCxnSpPr/>
          <p:nvPr/>
        </p:nvCxnSpPr>
        <p:spPr>
          <a:xfrm>
            <a:off x="1568846" y="2001795"/>
            <a:ext cx="345989" cy="2347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5ADBD1BD-422A-3141-B7BB-E022D78C4ABB}"/>
              </a:ext>
            </a:extLst>
          </p:cNvPr>
          <p:cNvCxnSpPr/>
          <p:nvPr/>
        </p:nvCxnSpPr>
        <p:spPr>
          <a:xfrm>
            <a:off x="1593097" y="2236573"/>
            <a:ext cx="345989" cy="2347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E7CC841B-A0FB-DE4F-A6C6-5354D0D484D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7081" y="1358900"/>
            <a:ext cx="6789838" cy="4818063"/>
          </a:xfrm>
        </p:spPr>
      </p:pic>
    </p:spTree>
    <p:extLst>
      <p:ext uri="{BB962C8B-B14F-4D97-AF65-F5344CB8AC3E}">
        <p14:creationId xmlns:p14="http://schemas.microsoft.com/office/powerpoint/2010/main" val="22544895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C2AB818-6DB2-E447-B827-6A626BF29C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’ve been working on – Compare ASN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AE9D3C-A1DE-624A-B021-7C738BFAE7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15</a:t>
            </a:fld>
            <a:endParaRPr lang="en-ID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B61E14E-FA53-734D-91D4-DEAE7D03719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4" y="1776184"/>
            <a:ext cx="7709364" cy="4213405"/>
          </a:xfrm>
          <a:prstGeom prst="rect">
            <a:avLst/>
          </a:prstGeom>
        </p:spPr>
      </p:pic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4E606C2E-689B-9B45-A52B-EF73C43A1904}"/>
              </a:ext>
            </a:extLst>
          </p:cNvPr>
          <p:cNvCxnSpPr/>
          <p:nvPr/>
        </p:nvCxnSpPr>
        <p:spPr>
          <a:xfrm flipH="1" flipV="1">
            <a:off x="1235544" y="4629116"/>
            <a:ext cx="636104" cy="1192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6C96279C-04E6-F847-B171-D5993E252B07}"/>
              </a:ext>
            </a:extLst>
          </p:cNvPr>
          <p:cNvCxnSpPr/>
          <p:nvPr/>
        </p:nvCxnSpPr>
        <p:spPr>
          <a:xfrm flipH="1">
            <a:off x="1113182" y="3228886"/>
            <a:ext cx="463827" cy="3975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24179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C582DB6-81C9-FF4C-B65B-70464DFE0C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359493"/>
            <a:ext cx="8644126" cy="4817470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C2AB818-6DB2-E447-B827-6A626BF29C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’ve been working on - Compare ASN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AE9D3C-A1DE-624A-B021-7C738BFAE7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16</a:t>
            </a:fld>
            <a:endParaRPr lang="en-ID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0EF0FD2-5711-7243-985B-99304B1B9E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844" y="1359493"/>
            <a:ext cx="7804634" cy="4086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910129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C582DB6-81C9-FF4C-B65B-70464DFE0C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359493"/>
            <a:ext cx="8644126" cy="4817470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C2AB818-6DB2-E447-B827-6A626BF29C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’ve been working on - Compare ASN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AE9D3C-A1DE-624A-B021-7C738BFAE7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17</a:t>
            </a:fld>
            <a:endParaRPr lang="en-ID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AD4EC1E-8E76-E142-9891-CC02ABFF3A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141" y="1812873"/>
            <a:ext cx="7660640" cy="3627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23952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C582DB6-81C9-FF4C-B65B-70464DFE0C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359493"/>
            <a:ext cx="8644126" cy="4817470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C2AB818-6DB2-E447-B827-6A626BF29C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’ve been working on - Route Server Director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AE9D3C-A1DE-624A-B021-7C738BFAE7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18</a:t>
            </a:fld>
            <a:endParaRPr lang="en-ID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2737B1D-B1E2-DA4D-A438-1597BE2B982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126" y="1675984"/>
            <a:ext cx="8159000" cy="3900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0378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C582DB6-81C9-FF4C-B65B-70464DFE0C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359493"/>
            <a:ext cx="8644126" cy="4817470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C2AB818-6DB2-E447-B827-6A626BF29C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’ve been working on - Switch Director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AE9D3C-A1DE-624A-B021-7C738BFAE7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19</a:t>
            </a:fld>
            <a:endParaRPr lang="en-ID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76F6FF6-80FB-2742-9DED-F9A613DE961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4" y="1359493"/>
            <a:ext cx="8104951" cy="3974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83975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96C0DD2-3DB1-BA44-B226-B80070BBAE0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u="sng" dirty="0"/>
              <a:t>73 affiliated members</a:t>
            </a:r>
          </a:p>
          <a:p>
            <a:pPr marL="0" indent="0">
              <a:buNone/>
            </a:pPr>
            <a:endParaRPr lang="en-US" u="sng" dirty="0"/>
          </a:p>
          <a:p>
            <a:pPr>
              <a:buFont typeface="Wingdings" pitchFamily="2" charset="2"/>
              <a:buChar char="Ø"/>
            </a:pPr>
            <a:r>
              <a:rPr lang="en-US" dirty="0"/>
              <a:t> 54 IXPs in the Euro-IX region, 49 countries, operating over 100 peering LANs</a:t>
            </a:r>
          </a:p>
          <a:p>
            <a:pPr>
              <a:buFont typeface="Wingdings" pitchFamily="2" charset="2"/>
              <a:buChar char="Ø"/>
            </a:pPr>
            <a:r>
              <a:rPr lang="en-US" dirty="0"/>
              <a:t> 19 IXPs from the rest of the world</a:t>
            </a:r>
          </a:p>
          <a:p>
            <a:pPr>
              <a:buFont typeface="Wingdings" pitchFamily="2" charset="2"/>
              <a:buChar char="Ø"/>
            </a:pPr>
            <a:r>
              <a:rPr lang="en-US" dirty="0"/>
              <a:t> Newest Member:</a:t>
            </a:r>
          </a:p>
          <a:p>
            <a:pPr lvl="1">
              <a:buFont typeface="Wingdings" pitchFamily="2" charset="2"/>
              <a:buChar char="Ø"/>
            </a:pPr>
            <a:r>
              <a:rPr lang="en-US" dirty="0"/>
              <a:t>DO-IX - Dortmund Internet Exchange</a:t>
            </a:r>
          </a:p>
          <a:p>
            <a:pPr lvl="1">
              <a:buFont typeface="Wingdings" pitchFamily="2" charset="2"/>
              <a:buChar char="Ø"/>
            </a:pPr>
            <a:r>
              <a:rPr lang="en-US" dirty="0"/>
              <a:t>ANIX – Albanian Internet Exchang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1F7A46C-12AF-B64F-B327-A94AC672C4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uro-IX - Association of IXPs</a:t>
            </a:r>
          </a:p>
        </p:txBody>
      </p:sp>
    </p:spTree>
    <p:extLst>
      <p:ext uri="{BB962C8B-B14F-4D97-AF65-F5344CB8AC3E}">
        <p14:creationId xmlns:p14="http://schemas.microsoft.com/office/powerpoint/2010/main" val="303479348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BB33BFB-32DC-7D46-B68B-CA9621EC2F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New JSON spec to be published</a:t>
            </a:r>
          </a:p>
          <a:p>
            <a:pPr lvl="1"/>
            <a:r>
              <a:rPr lang="en-US" dirty="0"/>
              <a:t>Further Route Server &amp; Switch data</a:t>
            </a:r>
          </a:p>
          <a:p>
            <a:r>
              <a:rPr lang="en-US" dirty="0"/>
              <a:t>Authentication – IXPs can choose what data they want public and private (IXPs/Members only)</a:t>
            </a:r>
          </a:p>
          <a:p>
            <a:r>
              <a:rPr lang="en-US" dirty="0"/>
              <a:t>API work with Route Servers – prefix / ASNs</a:t>
            </a:r>
          </a:p>
          <a:p>
            <a:r>
              <a:rPr lang="en-US" dirty="0"/>
              <a:t>Analysis tools, mappings, searches by city / country</a:t>
            </a:r>
          </a:p>
          <a:p>
            <a:r>
              <a:rPr lang="en-US" dirty="0"/>
              <a:t>Work with IXPs to implement a solution – how to guides / tutorials / IXP Manager / Asteroid / Support from other IXPs</a:t>
            </a:r>
          </a:p>
          <a:p>
            <a:r>
              <a:rPr lang="en-US" dirty="0"/>
              <a:t>You too can help, speak to your IXPs</a:t>
            </a:r>
          </a:p>
          <a:p>
            <a:r>
              <a:rPr lang="en-US" dirty="0"/>
              <a:t>95 exports today!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B7F4D11-ED6A-264A-811B-E4DF0500DB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n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53DD58-01A2-894A-85B4-DE759930AA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2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17553322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CA0AC7F-2D29-C545-9913-B4A500BF71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ailing list for users - </a:t>
            </a:r>
            <a:r>
              <a:rPr lang="en-GB" u="sng" dirty="0">
                <a:hlinkClick r:id="rId2"/>
              </a:rPr>
              <a:t>https://lists.euro-ix.net/mailman/listinfo/ixpdb</a:t>
            </a:r>
            <a:endParaRPr lang="en-US" dirty="0"/>
          </a:p>
          <a:p>
            <a:r>
              <a:rPr lang="en-US" dirty="0"/>
              <a:t>JSON Member List Schema – </a:t>
            </a:r>
            <a:r>
              <a:rPr lang="en-US" dirty="0">
                <a:hlinkClick r:id="rId3"/>
              </a:rPr>
              <a:t>https://github.com/euro-ix/json-schemas</a:t>
            </a:r>
            <a:endParaRPr lang="en-US" dirty="0"/>
          </a:p>
          <a:p>
            <a:r>
              <a:rPr lang="en-US" dirty="0"/>
              <a:t>API – </a:t>
            </a:r>
            <a:r>
              <a:rPr lang="en-GB" u="sng" dirty="0">
                <a:hlinkClick r:id="rId4"/>
              </a:rPr>
              <a:t>https://api.ixpdb.net</a:t>
            </a:r>
            <a:endParaRPr lang="en-GB" u="sng" dirty="0"/>
          </a:p>
          <a:p>
            <a:r>
              <a:rPr lang="en-US" dirty="0"/>
              <a:t>IXPDB admin team - </a:t>
            </a:r>
            <a:r>
              <a:rPr lang="en-US" dirty="0" err="1"/>
              <a:t>ixpdb-admin@euro-ix.net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 algn="ctr">
              <a:buNone/>
            </a:pPr>
            <a:r>
              <a:rPr lang="en-US" dirty="0"/>
              <a:t>If you think this is good work like we do, support us!</a:t>
            </a:r>
          </a:p>
          <a:p>
            <a:pPr marL="0" indent="0" algn="ctr">
              <a:buNone/>
            </a:pPr>
            <a:r>
              <a:rPr lang="en-US" dirty="0" err="1"/>
              <a:t>secretariat@euro-ix.net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F040BEE-4184-0F4A-8019-95F46B1D44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her Information	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7F3DE5B-5A1C-7D44-90C4-6CBAA9D05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2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95531661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6AD331-7001-6246-8653-A7AB7BBB0D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XPDB Sponsor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509B6A2-E442-DC46-998A-E137181847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22</a:t>
            </a:fld>
            <a:endParaRPr lang="en-ID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E33973-C1EC-EB41-A949-0053CCD894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5345" y="1888618"/>
            <a:ext cx="4099297" cy="150854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BB3302E-ABB2-1E46-8460-E6A266DEDDB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812" y="3127116"/>
            <a:ext cx="3815875" cy="127195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C8424F7-8C2B-2646-8DD7-BC4306E7A13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418" y="4972466"/>
            <a:ext cx="4465471" cy="140343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309F362-5B29-5945-BC88-7EE9165050D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0" y="1623434"/>
            <a:ext cx="3933918" cy="79400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3EC36D-106A-114C-BF98-B970029C093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4687" y="4372023"/>
            <a:ext cx="4099297" cy="959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784710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B62E6D-B1BB-464F-A022-A8B12803F8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1504132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3998854-A78A-6F4B-9D07-601D60782A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uro-IX Patron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9CF0F6-CCA3-2248-A49D-2A82443CD9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3</a:t>
            </a:fld>
            <a:endParaRPr lang="en-ID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6880396-B837-2542-A7F5-3832E73987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7393" y="3496234"/>
            <a:ext cx="2117587" cy="118584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2F86372-A639-2C44-A003-C03DF7D2786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9764" y="1554739"/>
            <a:ext cx="2660634" cy="87158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4DC42BA-95D1-9441-8B2A-4147AFB9358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596" y="1201332"/>
            <a:ext cx="1270000" cy="1270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1B70692-5171-9C45-9A2F-1CCBCBBE59E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4" y="4897652"/>
            <a:ext cx="2230626" cy="107845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E7C08E9-0DC5-3442-A137-E4E29329047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2554" y="4821468"/>
            <a:ext cx="2878892" cy="69490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58E2792-2F0C-364A-894B-5DF63DF347F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596" y="3644517"/>
            <a:ext cx="2855755" cy="50722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97B1F87-399D-1C41-9289-094D097402E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5152" y="3368210"/>
            <a:ext cx="3031986" cy="1010662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8233F64-9BBD-824C-9EA7-5E81393CB01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2393" y="1028308"/>
            <a:ext cx="3822573" cy="161604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E637884-96A1-8E4F-BC89-21331B1AD74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3809" y="2557115"/>
            <a:ext cx="3619739" cy="71659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B9708C8-70D6-254F-973B-ADF4036A576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5829" y="5351808"/>
            <a:ext cx="2734902" cy="911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5946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D9D6754-C2C8-E840-82DE-701F612B529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/>
              <a:t>2 Fora a year</a:t>
            </a:r>
          </a:p>
          <a:p>
            <a:pPr lvl="1"/>
            <a:r>
              <a:rPr lang="en-US"/>
              <a:t>33</a:t>
            </a:r>
            <a:r>
              <a:rPr lang="en-US" baseline="30000"/>
              <a:t>rd</a:t>
            </a:r>
            <a:r>
              <a:rPr lang="en-US"/>
              <a:t> in Venice hosted by NAMEX, TOP-IX and VSIX (November 2018)</a:t>
            </a:r>
          </a:p>
          <a:p>
            <a:pPr lvl="1"/>
            <a:r>
              <a:rPr lang="en-US"/>
              <a:t>34</a:t>
            </a:r>
            <a:r>
              <a:rPr lang="en-US" baseline="30000"/>
              <a:t>th</a:t>
            </a:r>
            <a:r>
              <a:rPr lang="en-US"/>
              <a:t> in Toulouse hosted by TOUIX and France-IX</a:t>
            </a:r>
          </a:p>
          <a:p>
            <a:r>
              <a:rPr lang="en-US"/>
              <a:t>Website &amp; Database</a:t>
            </a:r>
          </a:p>
          <a:p>
            <a:r>
              <a:rPr lang="en-US"/>
              <a:t>Fellowship &amp; Mentor-IX Programs</a:t>
            </a:r>
          </a:p>
          <a:p>
            <a:r>
              <a:rPr lang="en-US"/>
              <a:t>Reports – Benchmarking, traffic, hardware, route servers.</a:t>
            </a:r>
          </a:p>
          <a:p>
            <a:r>
              <a:rPr lang="en-US"/>
              <a:t>Newsletters - </a:t>
            </a:r>
            <a:r>
              <a:rPr lang="en-US">
                <a:hlinkClick r:id="rId2"/>
              </a:rPr>
              <a:t>https://www.euro-ix.net/en/communications/newsletters/</a:t>
            </a:r>
            <a:endParaRPr lang="en-US"/>
          </a:p>
          <a:p>
            <a:r>
              <a:rPr lang="en-US"/>
              <a:t>Route Server Large BGP communities list: </a:t>
            </a:r>
            <a:r>
              <a:rPr lang="en-US">
                <a:hlinkClick r:id="rId3"/>
              </a:rPr>
              <a:t>https://www.euro-ix.net/en/forixps/large-bgp-communities/</a:t>
            </a:r>
            <a:endParaRPr lang="en-US"/>
          </a:p>
          <a:p>
            <a:r>
              <a:rPr lang="en-US"/>
              <a:t>Social media</a:t>
            </a:r>
          </a:p>
          <a:p>
            <a:pPr lvl="1"/>
            <a:r>
              <a:rPr lang="en-US"/>
              <a:t>Twitter @euroix</a:t>
            </a:r>
          </a:p>
          <a:p>
            <a:pPr lvl="1"/>
            <a:r>
              <a:rPr lang="en-US"/>
              <a:t>Facebook </a:t>
            </a:r>
            <a:r>
              <a:rPr lang="en-US" err="1"/>
              <a:t>fb.me</a:t>
            </a:r>
            <a:r>
              <a:rPr lang="en-US"/>
              <a:t>/</a:t>
            </a:r>
            <a:r>
              <a:rPr lang="en-US" err="1"/>
              <a:t>maineuroix</a:t>
            </a:r>
            <a:endParaRPr lang="en-US"/>
          </a:p>
          <a:p>
            <a:pPr lvl="1"/>
            <a:r>
              <a:rPr lang="en-US" err="1"/>
              <a:t>Youtube</a:t>
            </a:r>
            <a:r>
              <a:rPr lang="en-US"/>
              <a:t> </a:t>
            </a:r>
            <a:r>
              <a:rPr lang="en-GB" err="1">
                <a:latin typeface="Lato" panose="020F0502020204030203" pitchFamily="34" charset="77"/>
                <a:ea typeface="Lato Medium" panose="020F0502020204030203" pitchFamily="34" charset="0"/>
                <a:cs typeface="Lato Medium" panose="020F0502020204030203" pitchFamily="34" charset="0"/>
              </a:rPr>
              <a:t>youtube.com</a:t>
            </a:r>
            <a:r>
              <a:rPr lang="en-GB">
                <a:latin typeface="Lato" panose="020F0502020204030203" pitchFamily="34" charset="77"/>
                <a:ea typeface="Lato Medium" panose="020F0502020204030203" pitchFamily="34" charset="0"/>
                <a:cs typeface="Lato Medium" panose="020F0502020204030203" pitchFamily="34" charset="0"/>
              </a:rPr>
              <a:t>/channel/</a:t>
            </a:r>
            <a:r>
              <a:rPr lang="en-GB" err="1">
                <a:latin typeface="Lato" panose="020F0502020204030203" pitchFamily="34" charset="77"/>
                <a:ea typeface="Lato Medium" panose="020F0502020204030203" pitchFamily="34" charset="0"/>
                <a:cs typeface="Lato Medium" panose="020F0502020204030203" pitchFamily="34" charset="0"/>
              </a:rPr>
              <a:t>UCFyucVRAAMzxyJIsxnGwsjw</a:t>
            </a:r>
            <a:r>
              <a:rPr lang="en-GB">
                <a:latin typeface="Lato" panose="020F0502020204030203" pitchFamily="34" charset="77"/>
                <a:ea typeface="Lato Medium" panose="020F0502020204030203" pitchFamily="34" charset="0"/>
                <a:cs typeface="Lato Medium" panose="020F0502020204030203" pitchFamily="34" charset="0"/>
              </a:rPr>
              <a:t> </a:t>
            </a:r>
            <a:endParaRPr lang="en-US"/>
          </a:p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467562A-AC14-4442-87D7-07E2BDA048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uro-IX Activiti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FF4D9F-C883-1548-9246-2F7601F9E9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11887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294BE8-526C-0145-9DD3-48AE85333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X-F, IXPDB &amp; Tools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F47419-45BA-494A-BC64-514DFD561DE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951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C03312-804B-C146-9819-EEAA2B6CE3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6334" y="590000"/>
            <a:ext cx="6420316" cy="364435"/>
          </a:xfrm>
        </p:spPr>
        <p:txBody>
          <a:bodyPr>
            <a:normAutofit fontScale="90000"/>
          </a:bodyPr>
          <a:lstStyle/>
          <a:p>
            <a:pPr algn="ctr"/>
            <a:br>
              <a:rPr lang="en-US" dirty="0"/>
            </a:br>
            <a:br>
              <a:rPr lang="en-US" dirty="0"/>
            </a:br>
            <a:r>
              <a:rPr lang="en-US" dirty="0"/>
              <a:t>Intro - IX-F Internet eXchange Federa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C454D7-99AD-974A-A0A3-EA7EBF8D8C4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987426"/>
            <a:ext cx="2949178" cy="4881562"/>
          </a:xfrm>
        </p:spPr>
        <p:txBody>
          <a:bodyPr>
            <a:normAutofit/>
          </a:bodyPr>
          <a:lstStyle/>
          <a:p>
            <a:endParaRPr lang="en-US" b="1" dirty="0"/>
          </a:p>
          <a:p>
            <a:r>
              <a:rPr lang="en-US" b="1" dirty="0"/>
              <a:t>AFIX</a:t>
            </a:r>
          </a:p>
          <a:p>
            <a:r>
              <a:rPr lang="en-US" dirty="0"/>
              <a:t>Kyle Spencer – UIXP</a:t>
            </a:r>
          </a:p>
          <a:p>
            <a:r>
              <a:rPr lang="en-US" dirty="0" err="1"/>
              <a:t>Nishal</a:t>
            </a:r>
            <a:r>
              <a:rPr lang="en-US" dirty="0"/>
              <a:t> </a:t>
            </a:r>
            <a:r>
              <a:rPr lang="en-US" dirty="0" err="1"/>
              <a:t>Goburdhan</a:t>
            </a:r>
            <a:r>
              <a:rPr lang="en-US" dirty="0"/>
              <a:t> – JINX</a:t>
            </a:r>
          </a:p>
          <a:p>
            <a:r>
              <a:rPr lang="en-US" b="1" dirty="0"/>
              <a:t>APIX</a:t>
            </a:r>
          </a:p>
          <a:p>
            <a:r>
              <a:rPr lang="en-US" dirty="0" err="1"/>
              <a:t>Katsuyasu</a:t>
            </a:r>
            <a:r>
              <a:rPr lang="en-US" dirty="0"/>
              <a:t> Toyama – JPNAP</a:t>
            </a:r>
          </a:p>
          <a:p>
            <a:r>
              <a:rPr lang="en-US" dirty="0"/>
              <a:t>Tom </a:t>
            </a:r>
            <a:r>
              <a:rPr lang="en-US" dirty="0" err="1"/>
              <a:t>Paseka</a:t>
            </a:r>
            <a:r>
              <a:rPr lang="en-US" dirty="0"/>
              <a:t> – NZIX</a:t>
            </a:r>
          </a:p>
          <a:p>
            <a:r>
              <a:rPr lang="en-US" b="1" dirty="0"/>
              <a:t>Euro-IX</a:t>
            </a:r>
          </a:p>
          <a:p>
            <a:r>
              <a:rPr lang="en-US" dirty="0"/>
              <a:t>Andy Davidson – Asteroid  </a:t>
            </a:r>
          </a:p>
          <a:p>
            <a:r>
              <a:rPr lang="en-US" dirty="0"/>
              <a:t>Ondrej Fillip – NIX.CZ</a:t>
            </a:r>
          </a:p>
          <a:p>
            <a:r>
              <a:rPr lang="en-US" b="1" dirty="0"/>
              <a:t>LAC-IX</a:t>
            </a:r>
          </a:p>
          <a:p>
            <a:r>
              <a:rPr lang="en-US" dirty="0"/>
              <a:t>Milton </a:t>
            </a:r>
            <a:r>
              <a:rPr lang="en-US" dirty="0" err="1"/>
              <a:t>Kashiwakura</a:t>
            </a:r>
            <a:r>
              <a:rPr lang="en-US" dirty="0"/>
              <a:t> – </a:t>
            </a:r>
            <a:r>
              <a:rPr lang="en-US" dirty="0" err="1"/>
              <a:t>IX.br</a:t>
            </a:r>
            <a:endParaRPr lang="en-US" dirty="0"/>
          </a:p>
          <a:p>
            <a:r>
              <a:rPr lang="en-US" dirty="0"/>
              <a:t>Ariel </a:t>
            </a:r>
            <a:r>
              <a:rPr lang="en-US" dirty="0" err="1"/>
              <a:t>Graizer</a:t>
            </a:r>
            <a:r>
              <a:rPr lang="en-US" dirty="0"/>
              <a:t> – NAP CABASE</a:t>
            </a:r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00D3C3-45C1-BB47-882C-0236F0CFB4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t>6</a:t>
            </a:fld>
            <a:endParaRPr lang="en-ID"/>
          </a:p>
        </p:txBody>
      </p:sp>
      <p:pic>
        <p:nvPicPr>
          <p:cNvPr id="6" name="Content Placeholder 6">
            <a:extLst>
              <a:ext uri="{FF2B5EF4-FFF2-40B4-BE49-F238E27FC236}">
                <a16:creationId xmlns:a16="http://schemas.microsoft.com/office/drawing/2014/main" id="{ECB90AE1-6809-5347-8F80-2E1B026AC7F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8984" y="1790155"/>
            <a:ext cx="6115509" cy="3609748"/>
          </a:xfr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E272BC8-8CDF-0846-87A3-C381DCEC8269}"/>
              </a:ext>
            </a:extLst>
          </p:cNvPr>
          <p:cNvSpPr/>
          <p:nvPr/>
        </p:nvSpPr>
        <p:spPr>
          <a:xfrm>
            <a:off x="4187687" y="2133600"/>
            <a:ext cx="715617" cy="26504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2843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299B379-1B8E-694D-827A-162F6D743F4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Not new, the original code was written around 15 years ago…</a:t>
            </a:r>
          </a:p>
          <a:p>
            <a:r>
              <a:rPr lang="en-US" dirty="0"/>
              <a:t>Membership feedback from consultations and Survey clearly showed IXPs wanted a place to publish an accurate and complete data set.</a:t>
            </a:r>
          </a:p>
          <a:p>
            <a:r>
              <a:rPr lang="en-US" dirty="0"/>
              <a:t>As members of IX-F it didn’t make sense for all of us to create individual regional databases or directories</a:t>
            </a:r>
          </a:p>
          <a:p>
            <a:r>
              <a:rPr lang="en-US" dirty="0"/>
              <a:t>In 2016 we considered the limitations of the underlying database and structure. </a:t>
            </a:r>
          </a:p>
          <a:p>
            <a:r>
              <a:rPr lang="en-US" dirty="0"/>
              <a:t>We wanted to move forward with automation and work started on the IXP Member List JSON Schema, which is now also used in PeeringDB</a:t>
            </a:r>
          </a:p>
          <a:p>
            <a:r>
              <a:rPr lang="en-US" dirty="0"/>
              <a:t>In 2017 we contracted the website and IXP Database work to CZ.NIC.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00E2E12-A4E9-6B46-BCB8-0FB0D82C5F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XPDB - Some Histo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06C48C-6ED9-D148-9DFC-AA26CF0B90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0445143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0B346A1-F91A-9A49-AE75-8A76BC690D5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/>
              <a:t>You can access the IXPDB via </a:t>
            </a:r>
            <a:r>
              <a:rPr lang="en-US">
                <a:hlinkClick r:id="rId2"/>
              </a:rPr>
              <a:t>https://ixpdb.euro-ix.net/</a:t>
            </a:r>
            <a:endParaRPr lang="en-US"/>
          </a:p>
          <a:p>
            <a:pPr marL="0" indent="0" algn="ctr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02E3BD3-68F5-054E-8F36-9A1B03D1C3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we’ve been working on.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208EA8-2F1F-924C-8360-8892A31559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8</a:t>
            </a:fld>
            <a:endParaRPr lang="en-ID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06BD65A-7CD1-924F-A9D8-D0586D2BD0C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966407"/>
            <a:ext cx="9144000" cy="1603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0911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0B346A1-F91A-9A49-AE75-8A76BC690D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9874" y="1348352"/>
            <a:ext cx="8144252" cy="4828611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02E3BD3-68F5-054E-8F36-9A1B03D1C3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’ve been working on – IXP Directo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208EA8-2F1F-924C-8360-8892A31559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9</a:t>
            </a:fld>
            <a:endParaRPr lang="en-ID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BEA86DF-3E76-8F40-9212-335DEA21847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4" y="1348352"/>
            <a:ext cx="7880923" cy="4571683"/>
          </a:xfrm>
          <a:prstGeom prst="rect">
            <a:avLst/>
          </a:prstGeom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7BCC3273-0552-9D41-97A9-41E0F88B682F}"/>
              </a:ext>
            </a:extLst>
          </p:cNvPr>
          <p:cNvCxnSpPr/>
          <p:nvPr/>
        </p:nvCxnSpPr>
        <p:spPr>
          <a:xfrm>
            <a:off x="1634387" y="3210560"/>
            <a:ext cx="0" cy="4236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1F32EE7B-457B-7747-B528-B399096E701E}"/>
              </a:ext>
            </a:extLst>
          </p:cNvPr>
          <p:cNvCxnSpPr/>
          <p:nvPr/>
        </p:nvCxnSpPr>
        <p:spPr>
          <a:xfrm>
            <a:off x="1354300" y="2559771"/>
            <a:ext cx="0" cy="4236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7DA86E0B-9437-3A48-A894-2A8BC9AA8C91}"/>
              </a:ext>
            </a:extLst>
          </p:cNvPr>
          <p:cNvCxnSpPr/>
          <p:nvPr/>
        </p:nvCxnSpPr>
        <p:spPr>
          <a:xfrm>
            <a:off x="2281057" y="2514017"/>
            <a:ext cx="0" cy="4236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4A595809-6FFD-B344-BB07-8B95364D3BC5}"/>
              </a:ext>
            </a:extLst>
          </p:cNvPr>
          <p:cNvCxnSpPr>
            <a:cxnSpLocks/>
          </p:cNvCxnSpPr>
          <p:nvPr/>
        </p:nvCxnSpPr>
        <p:spPr>
          <a:xfrm flipH="1">
            <a:off x="3665014" y="2559771"/>
            <a:ext cx="301505" cy="3444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30E61C71-99D7-5341-8D9A-E0C9813042AB}"/>
              </a:ext>
            </a:extLst>
          </p:cNvPr>
          <p:cNvCxnSpPr/>
          <p:nvPr/>
        </p:nvCxnSpPr>
        <p:spPr>
          <a:xfrm>
            <a:off x="7050765" y="3210560"/>
            <a:ext cx="0" cy="4236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FAA640EF-0D8B-FF4A-B0AA-DE0B099D2607}"/>
              </a:ext>
            </a:extLst>
          </p:cNvPr>
          <p:cNvCxnSpPr/>
          <p:nvPr/>
        </p:nvCxnSpPr>
        <p:spPr>
          <a:xfrm>
            <a:off x="7388517" y="3210559"/>
            <a:ext cx="0" cy="4236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7A8FAF1D-1CB5-C04F-B2F2-E81C70C0DD14}"/>
              </a:ext>
            </a:extLst>
          </p:cNvPr>
          <p:cNvCxnSpPr/>
          <p:nvPr/>
        </p:nvCxnSpPr>
        <p:spPr>
          <a:xfrm>
            <a:off x="7759219" y="3189519"/>
            <a:ext cx="0" cy="4236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95048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698</TotalTime>
  <Words>622</Words>
  <Application>Microsoft Macintosh PowerPoint</Application>
  <PresentationFormat>On-screen Show (4:3)</PresentationFormat>
  <Paragraphs>100</Paragraphs>
  <Slides>2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2" baseType="lpstr">
      <vt:lpstr>Arial</vt:lpstr>
      <vt:lpstr>Calibri</vt:lpstr>
      <vt:lpstr>Lato</vt:lpstr>
      <vt:lpstr>Lato Black</vt:lpstr>
      <vt:lpstr>Lato Light</vt:lpstr>
      <vt:lpstr>Lato Medium</vt:lpstr>
      <vt:lpstr>Wingdings</vt:lpstr>
      <vt:lpstr>Office Theme</vt:lpstr>
      <vt:lpstr>think-cell Slide</vt:lpstr>
      <vt:lpstr>IXPDB &amp; Euro-IX Tools</vt:lpstr>
      <vt:lpstr>Euro-IX - Association of IXPs</vt:lpstr>
      <vt:lpstr>Euro-IX Patrons </vt:lpstr>
      <vt:lpstr>Euro-IX Activities</vt:lpstr>
      <vt:lpstr>IX-F, IXPDB &amp; Tools </vt:lpstr>
      <vt:lpstr>  Intro - IX-F Internet eXchange Federation</vt:lpstr>
      <vt:lpstr>IXPDB - Some History</vt:lpstr>
      <vt:lpstr>What we’ve been working on..</vt:lpstr>
      <vt:lpstr>What we’ve been working on – IXP Directory</vt:lpstr>
      <vt:lpstr>What we’ve been working on – ASN Directory</vt:lpstr>
      <vt:lpstr>What we’ve been working on – IXP Member List</vt:lpstr>
      <vt:lpstr>What we’ve been working on – Compare IXPs</vt:lpstr>
      <vt:lpstr>What we’ve been working on – Compare IXPs</vt:lpstr>
      <vt:lpstr>What we’ve been working on – Compare IXPs</vt:lpstr>
      <vt:lpstr>What we’ve been working on – Compare ASNs</vt:lpstr>
      <vt:lpstr>What we’ve been working on - Compare ASNs</vt:lpstr>
      <vt:lpstr>What we’ve been working on - Compare ASNs</vt:lpstr>
      <vt:lpstr>What we’ve been working on - Route Server Directory</vt:lpstr>
      <vt:lpstr>What we’ve been working on - Switch Directory</vt:lpstr>
      <vt:lpstr>What’s next</vt:lpstr>
      <vt:lpstr>Other Information </vt:lpstr>
      <vt:lpstr>IXPDB Sponsors</vt:lpstr>
      <vt:lpstr>Thank You</vt:lpstr>
    </vt:vector>
  </TitlesOfParts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MIN</dc:creator>
  <cp:lastModifiedBy>Bijal Sanghani</cp:lastModifiedBy>
  <cp:revision>103</cp:revision>
  <dcterms:created xsi:type="dcterms:W3CDTF">2018-01-11T19:04:12Z</dcterms:created>
  <dcterms:modified xsi:type="dcterms:W3CDTF">2019-05-03T06:10:36Z</dcterms:modified>
</cp:coreProperties>
</file>